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9EEDA4-0D7A-48EA-92C3-7543615611A8}" v="54" dt="2023-03-08T00:39:22.3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A9EEDA4-0D7A-48EA-92C3-7543615611A8}"/>
    <pc:docChg chg="addSld delSld modSld">
      <pc:chgData name="Roberto Gallardo" userId="49a044883f185952" providerId="LiveId" clId="{FA9EEDA4-0D7A-48EA-92C3-7543615611A8}" dt="2023-03-08T00:39:32.489" v="247" actId="1076"/>
      <pc:docMkLst>
        <pc:docMk/>
      </pc:docMkLst>
      <pc:sldChg chg="del">
        <pc:chgData name="Roberto Gallardo" userId="49a044883f185952" providerId="LiveId" clId="{FA9EEDA4-0D7A-48EA-92C3-7543615611A8}" dt="2023-02-25T15:13:51.200" v="45" actId="47"/>
        <pc:sldMkLst>
          <pc:docMk/>
          <pc:sldMk cId="1175010214" sldId="261"/>
        </pc:sldMkLst>
      </pc:sldChg>
      <pc:sldChg chg="addSp modSp mod">
        <pc:chgData name="Roberto Gallardo" userId="49a044883f185952" providerId="LiveId" clId="{FA9EEDA4-0D7A-48EA-92C3-7543615611A8}" dt="2023-03-08T00:34:15.885" v="54" actId="1076"/>
        <pc:sldMkLst>
          <pc:docMk/>
          <pc:sldMk cId="1418533539" sldId="271"/>
        </pc:sldMkLst>
        <pc:picChg chg="add mod">
          <ac:chgData name="Roberto Gallardo" userId="49a044883f185952" providerId="LiveId" clId="{FA9EEDA4-0D7A-48EA-92C3-7543615611A8}" dt="2023-03-08T00:34:15.885" v="54" actId="1076"/>
          <ac:picMkLst>
            <pc:docMk/>
            <pc:sldMk cId="1418533539" sldId="271"/>
            <ac:picMk id="6" creationId="{910EC5E8-CB17-C8EB-67AE-6E8644E3191C}"/>
          </ac:picMkLst>
        </pc:picChg>
      </pc:sldChg>
      <pc:sldChg chg="addSp modSp mod">
        <pc:chgData name="Roberto Gallardo" userId="49a044883f185952" providerId="LiveId" clId="{FA9EEDA4-0D7A-48EA-92C3-7543615611A8}" dt="2023-03-08T00:36:00.359" v="107" actId="1076"/>
        <pc:sldMkLst>
          <pc:docMk/>
          <pc:sldMk cId="2124848710" sldId="281"/>
        </pc:sldMkLst>
        <pc:picChg chg="add mod">
          <ac:chgData name="Roberto Gallardo" userId="49a044883f185952" providerId="LiveId" clId="{FA9EEDA4-0D7A-48EA-92C3-7543615611A8}" dt="2023-03-08T00:36:00.359" v="107" actId="1076"/>
          <ac:picMkLst>
            <pc:docMk/>
            <pc:sldMk cId="2124848710" sldId="281"/>
            <ac:picMk id="6" creationId="{4357D621-C145-211B-BE93-9D3574F88F81}"/>
          </ac:picMkLst>
        </pc:picChg>
      </pc:sldChg>
      <pc:sldChg chg="addSp modSp mod">
        <pc:chgData name="Roberto Gallardo" userId="49a044883f185952" providerId="LiveId" clId="{FA9EEDA4-0D7A-48EA-92C3-7543615611A8}" dt="2023-03-08T00:36:17.968" v="119" actId="1076"/>
        <pc:sldMkLst>
          <pc:docMk/>
          <pc:sldMk cId="2028175529" sldId="282"/>
        </pc:sldMkLst>
        <pc:picChg chg="add mod">
          <ac:chgData name="Roberto Gallardo" userId="49a044883f185952" providerId="LiveId" clId="{FA9EEDA4-0D7A-48EA-92C3-7543615611A8}" dt="2023-03-08T00:36:17.968" v="119" actId="1076"/>
          <ac:picMkLst>
            <pc:docMk/>
            <pc:sldMk cId="2028175529" sldId="282"/>
            <ac:picMk id="7" creationId="{69C9BA85-A654-16AF-5265-455E1D30BB26}"/>
          </ac:picMkLst>
        </pc:picChg>
      </pc:sldChg>
      <pc:sldChg chg="addSp modSp mod">
        <pc:chgData name="Roberto Gallardo" userId="49a044883f185952" providerId="LiveId" clId="{FA9EEDA4-0D7A-48EA-92C3-7543615611A8}" dt="2023-03-08T00:36:34.473" v="128" actId="1076"/>
        <pc:sldMkLst>
          <pc:docMk/>
          <pc:sldMk cId="1326517747" sldId="283"/>
        </pc:sldMkLst>
        <pc:picChg chg="add mod">
          <ac:chgData name="Roberto Gallardo" userId="49a044883f185952" providerId="LiveId" clId="{FA9EEDA4-0D7A-48EA-92C3-7543615611A8}" dt="2023-03-08T00:36:34.473" v="128" actId="1076"/>
          <ac:picMkLst>
            <pc:docMk/>
            <pc:sldMk cId="1326517747" sldId="283"/>
            <ac:picMk id="7" creationId="{99E5C60C-D2EE-E1E2-7674-66B7188F65B5}"/>
          </ac:picMkLst>
        </pc:picChg>
      </pc:sldChg>
      <pc:sldChg chg="addSp modSp mod">
        <pc:chgData name="Roberto Gallardo" userId="49a044883f185952" providerId="LiveId" clId="{FA9EEDA4-0D7A-48EA-92C3-7543615611A8}" dt="2023-03-08T00:36:49.916" v="139" actId="1076"/>
        <pc:sldMkLst>
          <pc:docMk/>
          <pc:sldMk cId="783739251" sldId="284"/>
        </pc:sldMkLst>
        <pc:picChg chg="add mod">
          <ac:chgData name="Roberto Gallardo" userId="49a044883f185952" providerId="LiveId" clId="{FA9EEDA4-0D7A-48EA-92C3-7543615611A8}" dt="2023-03-08T00:36:49.916" v="139" actId="1076"/>
          <ac:picMkLst>
            <pc:docMk/>
            <pc:sldMk cId="783739251" sldId="284"/>
            <ac:picMk id="7" creationId="{88356118-D9BD-1CD3-2216-3CE3398E687D}"/>
          </ac:picMkLst>
        </pc:picChg>
      </pc:sldChg>
      <pc:sldChg chg="addSp modSp mod">
        <pc:chgData name="Roberto Gallardo" userId="49a044883f185952" providerId="LiveId" clId="{FA9EEDA4-0D7A-48EA-92C3-7543615611A8}" dt="2023-03-08T00:37:05.132" v="150" actId="1076"/>
        <pc:sldMkLst>
          <pc:docMk/>
          <pc:sldMk cId="1676122233" sldId="285"/>
        </pc:sldMkLst>
        <pc:picChg chg="add mod">
          <ac:chgData name="Roberto Gallardo" userId="49a044883f185952" providerId="LiveId" clId="{FA9EEDA4-0D7A-48EA-92C3-7543615611A8}" dt="2023-03-08T00:37:05.132" v="150" actId="1076"/>
          <ac:picMkLst>
            <pc:docMk/>
            <pc:sldMk cId="1676122233" sldId="285"/>
            <ac:picMk id="7" creationId="{C37A4722-4A1F-DD62-43E5-4348041481EF}"/>
          </ac:picMkLst>
        </pc:picChg>
      </pc:sldChg>
      <pc:sldChg chg="addSp modSp mod">
        <pc:chgData name="Roberto Gallardo" userId="49a044883f185952" providerId="LiveId" clId="{FA9EEDA4-0D7A-48EA-92C3-7543615611A8}" dt="2023-03-08T00:37:27.789" v="167" actId="1076"/>
        <pc:sldMkLst>
          <pc:docMk/>
          <pc:sldMk cId="3100398757" sldId="286"/>
        </pc:sldMkLst>
        <pc:picChg chg="add mod">
          <ac:chgData name="Roberto Gallardo" userId="49a044883f185952" providerId="LiveId" clId="{FA9EEDA4-0D7A-48EA-92C3-7543615611A8}" dt="2023-03-08T00:37:27.789" v="167" actId="1076"/>
          <ac:picMkLst>
            <pc:docMk/>
            <pc:sldMk cId="3100398757" sldId="286"/>
            <ac:picMk id="7" creationId="{522FD21D-4C85-02FC-FF8C-A6C2D63EB854}"/>
          </ac:picMkLst>
        </pc:picChg>
      </pc:sldChg>
      <pc:sldChg chg="addSp modSp mod">
        <pc:chgData name="Roberto Gallardo" userId="49a044883f185952" providerId="LiveId" clId="{FA9EEDA4-0D7A-48EA-92C3-7543615611A8}" dt="2023-03-08T00:37:44.900" v="178" actId="1076"/>
        <pc:sldMkLst>
          <pc:docMk/>
          <pc:sldMk cId="1546475425" sldId="287"/>
        </pc:sldMkLst>
        <pc:picChg chg="add mod">
          <ac:chgData name="Roberto Gallardo" userId="49a044883f185952" providerId="LiveId" clId="{FA9EEDA4-0D7A-48EA-92C3-7543615611A8}" dt="2023-03-08T00:37:44.900" v="178" actId="1076"/>
          <ac:picMkLst>
            <pc:docMk/>
            <pc:sldMk cId="1546475425" sldId="287"/>
            <ac:picMk id="7" creationId="{32129AFB-699E-890C-F27F-D5E053C4A843}"/>
          </ac:picMkLst>
        </pc:picChg>
      </pc:sldChg>
      <pc:sldChg chg="addSp modSp mod">
        <pc:chgData name="Roberto Gallardo" userId="49a044883f185952" providerId="LiveId" clId="{FA9EEDA4-0D7A-48EA-92C3-7543615611A8}" dt="2023-03-08T00:38:21.832" v="203" actId="1076"/>
        <pc:sldMkLst>
          <pc:docMk/>
          <pc:sldMk cId="1380517306" sldId="288"/>
        </pc:sldMkLst>
        <pc:picChg chg="add mod">
          <ac:chgData name="Roberto Gallardo" userId="49a044883f185952" providerId="LiveId" clId="{FA9EEDA4-0D7A-48EA-92C3-7543615611A8}" dt="2023-03-08T00:38:21.832" v="203" actId="1076"/>
          <ac:picMkLst>
            <pc:docMk/>
            <pc:sldMk cId="1380517306" sldId="288"/>
            <ac:picMk id="7" creationId="{D464979F-C8D4-72A9-8586-25B542D9DF00}"/>
          </ac:picMkLst>
        </pc:picChg>
      </pc:sldChg>
      <pc:sldChg chg="addSp modSp mod">
        <pc:chgData name="Roberto Gallardo" userId="49a044883f185952" providerId="LiveId" clId="{FA9EEDA4-0D7A-48EA-92C3-7543615611A8}" dt="2023-03-08T00:38:39.032" v="215" actId="1076"/>
        <pc:sldMkLst>
          <pc:docMk/>
          <pc:sldMk cId="1388671151" sldId="289"/>
        </pc:sldMkLst>
        <pc:picChg chg="add mod">
          <ac:chgData name="Roberto Gallardo" userId="49a044883f185952" providerId="LiveId" clId="{FA9EEDA4-0D7A-48EA-92C3-7543615611A8}" dt="2023-03-08T00:38:39.032" v="215" actId="1076"/>
          <ac:picMkLst>
            <pc:docMk/>
            <pc:sldMk cId="1388671151" sldId="289"/>
            <ac:picMk id="7" creationId="{BC709A0A-5619-F095-DB5D-2B08841A80E0}"/>
          </ac:picMkLst>
        </pc:picChg>
      </pc:sldChg>
      <pc:sldChg chg="addSp modSp mod">
        <pc:chgData name="Roberto Gallardo" userId="49a044883f185952" providerId="LiveId" clId="{FA9EEDA4-0D7A-48EA-92C3-7543615611A8}" dt="2023-03-08T00:39:15.793" v="236" actId="1076"/>
        <pc:sldMkLst>
          <pc:docMk/>
          <pc:sldMk cId="2355376039" sldId="290"/>
        </pc:sldMkLst>
        <pc:picChg chg="add mod">
          <ac:chgData name="Roberto Gallardo" userId="49a044883f185952" providerId="LiveId" clId="{FA9EEDA4-0D7A-48EA-92C3-7543615611A8}" dt="2023-03-08T00:39:15.793" v="236" actId="1076"/>
          <ac:picMkLst>
            <pc:docMk/>
            <pc:sldMk cId="2355376039" sldId="290"/>
            <ac:picMk id="8" creationId="{B0C7D58F-A5A9-4F61-BFB5-D77900FB0764}"/>
          </ac:picMkLst>
        </pc:picChg>
      </pc:sldChg>
      <pc:sldChg chg="addSp modSp mod">
        <pc:chgData name="Roberto Gallardo" userId="49a044883f185952" providerId="LiveId" clId="{FA9EEDA4-0D7A-48EA-92C3-7543615611A8}" dt="2023-03-08T00:39:32.489" v="247" actId="1076"/>
        <pc:sldMkLst>
          <pc:docMk/>
          <pc:sldMk cId="3757257295" sldId="291"/>
        </pc:sldMkLst>
        <pc:picChg chg="add mod">
          <ac:chgData name="Roberto Gallardo" userId="49a044883f185952" providerId="LiveId" clId="{FA9EEDA4-0D7A-48EA-92C3-7543615611A8}" dt="2023-03-08T00:39:32.489" v="247" actId="1076"/>
          <ac:picMkLst>
            <pc:docMk/>
            <pc:sldMk cId="3757257295" sldId="291"/>
            <ac:picMk id="8" creationId="{D5760269-5ABA-03A1-4474-F3B5B4940207}"/>
          </ac:picMkLst>
        </pc:picChg>
      </pc:sldChg>
      <pc:sldChg chg="addSp modSp mod">
        <pc:chgData name="Roberto Gallardo" userId="49a044883f185952" providerId="LiveId" clId="{FA9EEDA4-0D7A-48EA-92C3-7543615611A8}" dt="2023-03-08T00:38:02.093" v="189" actId="1076"/>
        <pc:sldMkLst>
          <pc:docMk/>
          <pc:sldMk cId="1259856727" sldId="292"/>
        </pc:sldMkLst>
        <pc:picChg chg="add mod">
          <ac:chgData name="Roberto Gallardo" userId="49a044883f185952" providerId="LiveId" clId="{FA9EEDA4-0D7A-48EA-92C3-7543615611A8}" dt="2023-03-08T00:38:02.093" v="189" actId="1076"/>
          <ac:picMkLst>
            <pc:docMk/>
            <pc:sldMk cId="1259856727" sldId="292"/>
            <ac:picMk id="7" creationId="{DF20D5A9-F0C8-2C07-E9CC-66776A2E59A9}"/>
          </ac:picMkLst>
        </pc:picChg>
      </pc:sldChg>
      <pc:sldChg chg="addSp modSp mod">
        <pc:chgData name="Roberto Gallardo" userId="49a044883f185952" providerId="LiveId" clId="{FA9EEDA4-0D7A-48EA-92C3-7543615611A8}" dt="2023-03-08T00:35:46.584" v="98" actId="1076"/>
        <pc:sldMkLst>
          <pc:docMk/>
          <pc:sldMk cId="3324519687" sldId="293"/>
        </pc:sldMkLst>
        <pc:picChg chg="add mod">
          <ac:chgData name="Roberto Gallardo" userId="49a044883f185952" providerId="LiveId" clId="{FA9EEDA4-0D7A-48EA-92C3-7543615611A8}" dt="2023-03-08T00:35:46.584" v="98" actId="1076"/>
          <ac:picMkLst>
            <pc:docMk/>
            <pc:sldMk cId="3324519687" sldId="293"/>
            <ac:picMk id="7" creationId="{7D895A62-24CB-A18D-32D7-4F8BEF40501D}"/>
          </ac:picMkLst>
        </pc:picChg>
      </pc:sldChg>
      <pc:sldChg chg="addSp modSp mod">
        <pc:chgData name="Roberto Gallardo" userId="49a044883f185952" providerId="LiveId" clId="{FA9EEDA4-0D7A-48EA-92C3-7543615611A8}" dt="2023-03-08T00:35:04.705" v="80" actId="1076"/>
        <pc:sldMkLst>
          <pc:docMk/>
          <pc:sldMk cId="3256182630" sldId="295"/>
        </pc:sldMkLst>
        <pc:picChg chg="add mod">
          <ac:chgData name="Roberto Gallardo" userId="49a044883f185952" providerId="LiveId" clId="{FA9EEDA4-0D7A-48EA-92C3-7543615611A8}" dt="2023-03-08T00:35:04.705" v="80" actId="1076"/>
          <ac:picMkLst>
            <pc:docMk/>
            <pc:sldMk cId="3256182630" sldId="295"/>
            <ac:picMk id="7" creationId="{A9E40E71-E3FD-E46B-09E0-C164EB3F0442}"/>
          </ac:picMkLst>
        </pc:picChg>
      </pc:sldChg>
      <pc:sldChg chg="addSp modSp mod">
        <pc:chgData name="Roberto Gallardo" userId="49a044883f185952" providerId="LiveId" clId="{FA9EEDA4-0D7A-48EA-92C3-7543615611A8}" dt="2023-03-08T00:35:26.928" v="90" actId="1076"/>
        <pc:sldMkLst>
          <pc:docMk/>
          <pc:sldMk cId="4057156843" sldId="296"/>
        </pc:sldMkLst>
        <pc:picChg chg="add mod">
          <ac:chgData name="Roberto Gallardo" userId="49a044883f185952" providerId="LiveId" clId="{FA9EEDA4-0D7A-48EA-92C3-7543615611A8}" dt="2023-03-08T00:35:26.928" v="90" actId="1076"/>
          <ac:picMkLst>
            <pc:docMk/>
            <pc:sldMk cId="4057156843" sldId="296"/>
            <ac:picMk id="7" creationId="{C23342F2-FA86-7D6E-1018-99513477C5ED}"/>
          </ac:picMkLst>
        </pc:picChg>
      </pc:sldChg>
      <pc:sldChg chg="addSp modSp mod">
        <pc:chgData name="Roberto Gallardo" userId="49a044883f185952" providerId="LiveId" clId="{FA9EEDA4-0D7A-48EA-92C3-7543615611A8}" dt="2023-03-08T00:34:50.077" v="70" actId="1076"/>
        <pc:sldMkLst>
          <pc:docMk/>
          <pc:sldMk cId="2080110827" sldId="297"/>
        </pc:sldMkLst>
        <pc:picChg chg="add mod">
          <ac:chgData name="Roberto Gallardo" userId="49a044883f185952" providerId="LiveId" clId="{FA9EEDA4-0D7A-48EA-92C3-7543615611A8}" dt="2023-03-08T00:34:50.077" v="70" actId="1076"/>
          <ac:picMkLst>
            <pc:docMk/>
            <pc:sldMk cId="2080110827" sldId="297"/>
            <ac:picMk id="6" creationId="{F1347C06-5A50-3E5C-5CDA-2214EB20E0EE}"/>
          </ac:picMkLst>
        </pc:picChg>
      </pc:sldChg>
      <pc:sldChg chg="addSp modSp mod">
        <pc:chgData name="Roberto Gallardo" userId="49a044883f185952" providerId="LiveId" clId="{FA9EEDA4-0D7A-48EA-92C3-7543615611A8}" dt="2023-03-08T00:34:33.716" v="62" actId="1076"/>
        <pc:sldMkLst>
          <pc:docMk/>
          <pc:sldMk cId="1532666867" sldId="298"/>
        </pc:sldMkLst>
        <pc:picChg chg="add mod">
          <ac:chgData name="Roberto Gallardo" userId="49a044883f185952" providerId="LiveId" clId="{FA9EEDA4-0D7A-48EA-92C3-7543615611A8}" dt="2023-03-08T00:34:33.716" v="62" actId="1076"/>
          <ac:picMkLst>
            <pc:docMk/>
            <pc:sldMk cId="1532666867" sldId="298"/>
            <ac:picMk id="6" creationId="{2CD7A99B-2938-2DC8-CE90-5653D48190B5}"/>
          </ac:picMkLst>
        </pc:picChg>
      </pc:sldChg>
      <pc:sldChg chg="addSp modSp mod">
        <pc:chgData name="Roberto Gallardo" userId="49a044883f185952" providerId="LiveId" clId="{FA9EEDA4-0D7A-48EA-92C3-7543615611A8}" dt="2023-03-08T00:38:59.761" v="225" actId="1076"/>
        <pc:sldMkLst>
          <pc:docMk/>
          <pc:sldMk cId="1951376777" sldId="299"/>
        </pc:sldMkLst>
        <pc:picChg chg="add mod">
          <ac:chgData name="Roberto Gallardo" userId="49a044883f185952" providerId="LiveId" clId="{FA9EEDA4-0D7A-48EA-92C3-7543615611A8}" dt="2023-03-08T00:38:59.761" v="225" actId="1076"/>
          <ac:picMkLst>
            <pc:docMk/>
            <pc:sldMk cId="1951376777" sldId="299"/>
            <ac:picMk id="7" creationId="{2640E324-2998-B085-93D7-EF3FA1B9DAA8}"/>
          </ac:picMkLst>
        </pc:picChg>
      </pc:sldChg>
      <pc:sldChg chg="modSp mod">
        <pc:chgData name="Roberto Gallardo" userId="49a044883f185952" providerId="LiveId" clId="{FA9EEDA4-0D7A-48EA-92C3-7543615611A8}" dt="2023-02-25T13:36:08.828" v="43" actId="20577"/>
        <pc:sldMkLst>
          <pc:docMk/>
          <pc:sldMk cId="1515423683" sldId="302"/>
        </pc:sldMkLst>
        <pc:spChg chg="mod">
          <ac:chgData name="Roberto Gallardo" userId="49a044883f185952" providerId="LiveId" clId="{FA9EEDA4-0D7A-48EA-92C3-7543615611A8}" dt="2023-02-25T13:36:08.828" v="43" actId="20577"/>
          <ac:spMkLst>
            <pc:docMk/>
            <pc:sldMk cId="1515423683" sldId="302"/>
            <ac:spMk id="5" creationId="{6AE302AC-8931-4144-BE52-DD1A8BA82462}"/>
          </ac:spMkLst>
        </pc:spChg>
        <pc:spChg chg="mod">
          <ac:chgData name="Roberto Gallardo" userId="49a044883f185952" providerId="LiveId" clId="{FA9EEDA4-0D7A-48EA-92C3-7543615611A8}" dt="2023-02-25T13:36:05.574" v="42" actId="20577"/>
          <ac:spMkLst>
            <pc:docMk/>
            <pc:sldMk cId="1515423683" sldId="302"/>
            <ac:spMk id="9" creationId="{E362A98F-7DCD-C67C-23CE-1BE182A133B4}"/>
          </ac:spMkLst>
        </pc:spChg>
      </pc:sldChg>
      <pc:sldChg chg="del">
        <pc:chgData name="Roberto Gallardo" userId="49a044883f185952" providerId="LiveId" clId="{FA9EEDA4-0D7A-48EA-92C3-7543615611A8}" dt="2023-02-25T15:13:51.200" v="45" actId="47"/>
        <pc:sldMkLst>
          <pc:docMk/>
          <pc:sldMk cId="2841628872" sldId="303"/>
        </pc:sldMkLst>
      </pc:sldChg>
      <pc:sldChg chg="del">
        <pc:chgData name="Roberto Gallardo" userId="49a044883f185952" providerId="LiveId" clId="{FA9EEDA4-0D7A-48EA-92C3-7543615611A8}" dt="2023-02-25T15:13:51.200" v="45" actId="47"/>
        <pc:sldMkLst>
          <pc:docMk/>
          <pc:sldMk cId="3084076302" sldId="304"/>
        </pc:sldMkLst>
      </pc:sldChg>
      <pc:sldChg chg="del">
        <pc:chgData name="Roberto Gallardo" userId="49a044883f185952" providerId="LiveId" clId="{FA9EEDA4-0D7A-48EA-92C3-7543615611A8}" dt="2023-02-25T15:13:51.200" v="45" actId="47"/>
        <pc:sldMkLst>
          <pc:docMk/>
          <pc:sldMk cId="473712435" sldId="305"/>
        </pc:sldMkLst>
      </pc:sldChg>
      <pc:sldChg chg="modSp mod">
        <pc:chgData name="Roberto Gallardo" userId="49a044883f185952" providerId="LiveId" clId="{FA9EEDA4-0D7A-48EA-92C3-7543615611A8}" dt="2023-02-25T12:48:09.841" v="40" actId="14100"/>
        <pc:sldMkLst>
          <pc:docMk/>
          <pc:sldMk cId="2366022307" sldId="306"/>
        </pc:sldMkLst>
        <pc:spChg chg="mod">
          <ac:chgData name="Roberto Gallardo" userId="49a044883f185952" providerId="LiveId" clId="{FA9EEDA4-0D7A-48EA-92C3-7543615611A8}" dt="2023-02-25T12:47:52.058" v="16" actId="1036"/>
          <ac:spMkLst>
            <pc:docMk/>
            <pc:sldMk cId="2366022307" sldId="306"/>
            <ac:spMk id="11" creationId="{09F5AE19-B4E3-7788-F25F-CDA80D596DAF}"/>
          </ac:spMkLst>
        </pc:spChg>
        <pc:cxnChg chg="mod">
          <ac:chgData name="Roberto Gallardo" userId="49a044883f185952" providerId="LiveId" clId="{FA9EEDA4-0D7A-48EA-92C3-7543615611A8}" dt="2023-02-25T12:48:05.593" v="39" actId="1036"/>
          <ac:cxnSpMkLst>
            <pc:docMk/>
            <pc:sldMk cId="2366022307" sldId="306"/>
            <ac:cxnSpMk id="27" creationId="{F0CF8142-8895-D0A8-A662-E40568742508}"/>
          </ac:cxnSpMkLst>
        </pc:cxnChg>
        <pc:cxnChg chg="mod">
          <ac:chgData name="Roberto Gallardo" userId="49a044883f185952" providerId="LiveId" clId="{FA9EEDA4-0D7A-48EA-92C3-7543615611A8}" dt="2023-02-25T12:48:09.841" v="40" actId="14100"/>
          <ac:cxnSpMkLst>
            <pc:docMk/>
            <pc:sldMk cId="2366022307" sldId="306"/>
            <ac:cxnSpMk id="28" creationId="{15C28C80-F0E1-159F-F103-CEA53436F6F9}"/>
          </ac:cxnSpMkLst>
        </pc:cxnChg>
        <pc:cxnChg chg="mod">
          <ac:chgData name="Roberto Gallardo" userId="49a044883f185952" providerId="LiveId" clId="{FA9EEDA4-0D7A-48EA-92C3-7543615611A8}" dt="2023-02-25T12:47:59.178" v="17" actId="14100"/>
          <ac:cxnSpMkLst>
            <pc:docMk/>
            <pc:sldMk cId="2366022307" sldId="306"/>
            <ac:cxnSpMk id="29" creationId="{783CFD35-8D28-EF95-B783-8C1E52BEC855}"/>
          </ac:cxnSpMkLst>
        </pc:cxnChg>
      </pc:sldChg>
      <pc:sldChg chg="add">
        <pc:chgData name="Roberto Gallardo" userId="49a044883f185952" providerId="LiveId" clId="{FA9EEDA4-0D7A-48EA-92C3-7543615611A8}" dt="2023-02-25T15:13:47.640" v="44"/>
        <pc:sldMkLst>
          <pc:docMk/>
          <pc:sldMk cId="1430399045" sldId="307"/>
        </pc:sldMkLst>
      </pc:sldChg>
      <pc:sldChg chg="add">
        <pc:chgData name="Roberto Gallardo" userId="49a044883f185952" providerId="LiveId" clId="{FA9EEDA4-0D7A-48EA-92C3-7543615611A8}" dt="2023-02-25T15:13:47.640" v="44"/>
        <pc:sldMkLst>
          <pc:docMk/>
          <pc:sldMk cId="2694028000" sldId="308"/>
        </pc:sldMkLst>
      </pc:sldChg>
      <pc:sldChg chg="add">
        <pc:chgData name="Roberto Gallardo" userId="49a044883f185952" providerId="LiveId" clId="{FA9EEDA4-0D7A-48EA-92C3-7543615611A8}" dt="2023-02-25T15:13:47.640" v="44"/>
        <pc:sldMkLst>
          <pc:docMk/>
          <pc:sldMk cId="3367396877" sldId="309"/>
        </pc:sldMkLst>
      </pc:sldChg>
      <pc:sldChg chg="add">
        <pc:chgData name="Roberto Gallardo" userId="49a044883f185952" providerId="LiveId" clId="{FA9EEDA4-0D7A-48EA-92C3-7543615611A8}" dt="2023-02-25T15:13:47.640" v="44"/>
        <pc:sldMkLst>
          <pc:docMk/>
          <pc:sldMk cId="6617652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McDowell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E31929B-523F-8F5D-A06A-113398363085}"/>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367396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4306F94-678F-9A7A-8141-C3FC8E383E42}"/>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66176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10EC5E8-CB17-C8EB-67AE-6E8644E319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CD7A99B-2938-2DC8-CE90-5653D48190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8700"/>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1347C06-5A50-3E5C-5CDA-2214EB20E0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8700"/>
            <a:ext cx="7602618"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694451F-FBF9-9B46-BB34-BCFE5C4BD25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A9E40E71-E3FD-E46B-09E0-C164EB3F04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337"/>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D693849-0AE5-9FF2-064F-3FC3A71671A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C23342F2-FA86-7D6E-1018-99513477C5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3B4D5C1-D406-8743-A562-7CA55A9BC900}"/>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7D895A62-24CB-A18D-32D7-4F8BEF4050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B412B86-4084-55C2-AF2C-C6B281D9B5A0}"/>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4357D621-C145-211B-BE93-9D3574F88F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D5560C0D-6E23-7EB1-C451-EAC2929E6552}"/>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9C9BA85-A654-16AF-5265-455E1D30BB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1"/>
            <a:ext cx="6405562" cy="4529738"/>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F10D0BEF-BC4A-EBBA-478A-023635176BF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9E5C60C-D2EE-E1E2-7674-66B7188F65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0831" y="1397390"/>
            <a:ext cx="6412795" cy="4534854"/>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3444A4F1-E3AC-E491-2C36-9141CA3FF8D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8356118-D9BD-1CD3-2216-3CE3398E68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917"/>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E819E443-F073-B62D-4163-42930F0AD83C}"/>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37A4722-4A1F-DD62-43E5-4348041481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01"/>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4E25F80B-6083-37E5-6762-ADB8B958F4B7}"/>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22FD21D-4C85-02FC-FF8C-A6C2D63EB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22122"/>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33A9D5B5-FD0A-34F0-DE44-8AAEEA1038D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2129AFB-699E-890C-F27F-D5E053C4A8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1B1838A2-0EE3-0466-C1BE-AA8FE97DD49A}"/>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F20D5A9-F0C8-2C07-E9CC-66776A2E59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239"/>
            <a:ext cx="6399481" cy="452543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683F99BD-B515-3702-501A-6D48D625E377}"/>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464979F-C8D4-72A9-8586-25B542D9DF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1B52AE72-16F8-F91F-5D18-8DC0F5A162EE}"/>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BC709A0A-5619-F095-DB5D-2B08841A80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527"/>
            <a:ext cx="6380663" cy="451213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18CA79CE-08F2-0AE9-8F1A-0BC547EB1B5A}"/>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2640E324-2998-B085-93D7-EF3FA1B9DA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3656C59B-E6C9-1030-E7BA-E8169DBDA020}"/>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map&#10;&#10;Description automatically generated">
            <a:extLst>
              <a:ext uri="{FF2B5EF4-FFF2-40B4-BE49-F238E27FC236}">
                <a16:creationId xmlns:a16="http://schemas.microsoft.com/office/drawing/2014/main" id="{B0C7D58F-A5A9-4F61-BFB5-D77900FB07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475" y="1417032"/>
            <a:ext cx="6401125" cy="452660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2120AC1-65A7-CFEA-95F6-2A765047E1B0}"/>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D03CD661-FBB9-A24D-C61B-9724B762859B}"/>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D5760269-5ABA-03A1-4474-F3B5B49402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2897" cy="4527854"/>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1207B02-5E5A-1533-C366-2EF03BFA4F50}"/>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6BA7341-D860-B1D8-80E1-95A215B3D79E}"/>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EFD2CD7-51AE-4346-C612-4E068F26319B}"/>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785118"/>
            <a:ext cx="1198148" cy="2071638"/>
            <a:chOff x="10485745" y="2809962"/>
            <a:chExt cx="1198148" cy="20716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508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099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809962"/>
              <a:ext cx="0" cy="5408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43361"/>
              <a:ext cx="0" cy="6382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467439"/>
            <a:ext cx="1198148" cy="2314827"/>
            <a:chOff x="2775759" y="2177183"/>
            <a:chExt cx="1198148" cy="23148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771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77183"/>
              <a:ext cx="0" cy="7838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8B2DE846-74E6-FEB1-734D-4A9212FFBCED}"/>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1210595-0A37-4CE7-1839-2A5573B2B86E}"/>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DB55AE5-018E-7F20-1D92-03F1C72A2779}"/>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A2085A6D-1B68-1FA4-DF53-889B3416085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5BB7517E-2DBC-C810-C155-8EC13EB2FA4A}"/>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0C617835-396E-5436-B1EF-C50DE13F6109}"/>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413B805D-8A6B-18E3-6079-9E31E14F7D52}"/>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430399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93F2CCF-0B4D-9C41-A7B9-E8334E410543}"/>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694028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1</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3</cp:revision>
  <dcterms:created xsi:type="dcterms:W3CDTF">2022-07-04T13:32:28Z</dcterms:created>
  <dcterms:modified xsi:type="dcterms:W3CDTF">2023-03-08T00:39:38Z</dcterms:modified>
</cp:coreProperties>
</file>